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tags/tag1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xml" ContentType="application/vnd.openxmlformats-officedocument.presentationml.tags+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40.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6.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9.xml" ContentType="application/vnd.openxmlformats-officedocument.presentationml.tags+xml"/>
  <Override PartName="/ppt/notesSlides/notesSlide50.xml" ContentType="application/vnd.openxmlformats-officedocument.presentationml.notesSlide+xml"/>
  <Override PartName="/ppt/theme/themeOverride6.xml" ContentType="application/vnd.openxmlformats-officedocument.themeOverride+xml"/>
  <Override PartName="/ppt/tags/tag20.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tags/tag21.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2.xml" ContentType="application/vnd.openxmlformats-officedocument.presentationml.tags+xml"/>
  <Override PartName="/ppt/notesSlides/notesSlide55.xml" ContentType="application/vnd.openxmlformats-officedocument.presentationml.notesSlide+xml"/>
  <Override PartName="/ppt/tags/tag23.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4.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83"/>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145705986" r:id="rId32"/>
    <p:sldId id="2076137827" r:id="rId33"/>
    <p:sldId id="2076137816" r:id="rId34"/>
    <p:sldId id="2076137818" r:id="rId35"/>
    <p:sldId id="2076137819" r:id="rId36"/>
    <p:sldId id="2076137820" r:id="rId37"/>
    <p:sldId id="2076137822" r:id="rId38"/>
    <p:sldId id="2076137821" r:id="rId39"/>
    <p:sldId id="2076137823" r:id="rId40"/>
    <p:sldId id="2134805708" r:id="rId41"/>
    <p:sldId id="2076137847" r:id="rId42"/>
    <p:sldId id="2145705971" r:id="rId43"/>
    <p:sldId id="2076137848" r:id="rId44"/>
    <p:sldId id="2145705937" r:id="rId45"/>
    <p:sldId id="2145705951" r:id="rId46"/>
    <p:sldId id="2076137850" r:id="rId47"/>
    <p:sldId id="2145705972" r:id="rId48"/>
    <p:sldId id="2145705973" r:id="rId49"/>
    <p:sldId id="2076137849" r:id="rId50"/>
    <p:sldId id="2145705978" r:id="rId51"/>
    <p:sldId id="2145705977" r:id="rId52"/>
    <p:sldId id="2145705979" r:id="rId53"/>
    <p:sldId id="2076137853" r:id="rId54"/>
    <p:sldId id="2145705976" r:id="rId55"/>
    <p:sldId id="2076137851" r:id="rId56"/>
    <p:sldId id="2145705974" r:id="rId57"/>
    <p:sldId id="2145705980" r:id="rId58"/>
    <p:sldId id="2076137852" r:id="rId59"/>
    <p:sldId id="4649" r:id="rId60"/>
    <p:sldId id="2145705947" r:id="rId61"/>
    <p:sldId id="2076136993" r:id="rId62"/>
    <p:sldId id="2040" r:id="rId63"/>
    <p:sldId id="2145705975" r:id="rId64"/>
    <p:sldId id="2145705981" r:id="rId65"/>
    <p:sldId id="2145705982" r:id="rId66"/>
    <p:sldId id="2145705984" r:id="rId67"/>
    <p:sldId id="2145705983" r:id="rId68"/>
    <p:sldId id="2076137854" r:id="rId69"/>
    <p:sldId id="2145705985" r:id="rId70"/>
    <p:sldId id="2076137832" r:id="rId71"/>
    <p:sldId id="2076137834" r:id="rId72"/>
    <p:sldId id="2076137836" r:id="rId73"/>
    <p:sldId id="2076137829" r:id="rId74"/>
    <p:sldId id="2076137842" r:id="rId75"/>
    <p:sldId id="2076137841" r:id="rId76"/>
    <p:sldId id="2076137843" r:id="rId77"/>
    <p:sldId id="2076137845" r:id="rId78"/>
    <p:sldId id="2076137830" r:id="rId79"/>
    <p:sldId id="2076137837" r:id="rId80"/>
    <p:sldId id="2076137831" r:id="rId81"/>
    <p:sldId id="2076137838"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 id="2145705986"/>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08D3A-79C6-4266-AA49-CCB7908C224E}" v="38" dt="2022-09-07T10:35:14.8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325" autoAdjust="0"/>
    <p:restoredTop sz="90895" autoAdjust="0"/>
  </p:normalViewPr>
  <p:slideViewPr>
    <p:cSldViewPr snapToGrid="0">
      <p:cViewPr varScale="1">
        <p:scale>
          <a:sx n="156" d="100"/>
          <a:sy n="156" d="100"/>
        </p:scale>
        <p:origin x="116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notesMaster" Target="notesMasters/notesMaster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tableStyles" Target="tableStyles.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0:37:21.966" v="548" actId="47"/>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Notes">
        <pc:chgData name="Jonathan Vella" userId="ff59d9e4-9df8-4ae6-90e3-b837e2f6651b" providerId="ADAL" clId="{9A108D3A-79C6-4266-AA49-CCB7908C224E}" dt="2022-09-07T09:48:15.048" v="241" actId="368"/>
        <pc:sldMkLst>
          <pc:docMk/>
          <pc:sldMk cId="3466835861" sldId="2145705971"/>
        </pc:sldMkLst>
      </pc:sldChg>
      <pc:sldChg chg="modNotes">
        <pc:chgData name="Jonathan Vella" userId="ff59d9e4-9df8-4ae6-90e3-b837e2f6651b" providerId="ADAL" clId="{9A108D3A-79C6-4266-AA49-CCB7908C224E}" dt="2022-09-07T09:48:15.095" v="249" actId="368"/>
        <pc:sldMkLst>
          <pc:docMk/>
          <pc:sldMk cId="3155259312" sldId="2145705972"/>
        </pc:sldMkLst>
      </pc:sldChg>
      <pc:sldChg chg="modNotes">
        <pc:chgData name="Jonathan Vella" userId="ff59d9e4-9df8-4ae6-90e3-b837e2f6651b" providerId="ADAL" clId="{9A108D3A-79C6-4266-AA49-CCB7908C224E}" dt="2022-09-07T09:48:15.111" v="251" actId="368"/>
        <pc:sldMkLst>
          <pc:docMk/>
          <pc:sldMk cId="4264489091" sldId="2145705973"/>
        </pc:sldMkLst>
      </pc:sldChg>
      <pc:sldChg chg="modNotes">
        <pc:chgData name="Jonathan Vella" userId="ff59d9e4-9df8-4ae6-90e3-b837e2f6651b" providerId="ADAL" clId="{9A108D3A-79C6-4266-AA49-CCB7908C224E}" dt="2022-09-07T09:48:15.142" v="257" actId="368"/>
        <pc:sldMkLst>
          <pc:docMk/>
          <pc:sldMk cId="2789173668" sldId="2145705977"/>
        </pc:sldMkLst>
      </pc:sldChg>
      <pc:sldChg chg="modNotes">
        <pc:chgData name="Jonathan Vella" userId="ff59d9e4-9df8-4ae6-90e3-b837e2f6651b" providerId="ADAL" clId="{9A108D3A-79C6-4266-AA49-CCB7908C224E}" dt="2022-09-07T09:48:15.126" v="255" actId="368"/>
        <pc:sldMkLst>
          <pc:docMk/>
          <pc:sldMk cId="1578671869" sldId="2145705978"/>
        </pc:sldMkLst>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4.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5.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6.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dirty="0">
              <a:solidFill>
                <a:schemeClr val="bg1"/>
              </a:solidFill>
            </a:rPr>
            <a:t>The Architecture</a:t>
          </a:r>
          <a:r>
            <a:rPr lang="en-US" dirty="0">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dirty="0"/>
            <a:t>Design guidelines</a:t>
          </a:r>
          <a:r>
            <a:rPr lang="en-US" dirty="0"/>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dirty="0"/>
            <a:t>Implementation guide</a:t>
          </a:r>
          <a:r>
            <a:rPr lang="en-US" dirty="0"/>
            <a:t>: The way you create those things using the reference implementations in GitHub and deployment pipelines</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dirty="0">
              <a:solidFill>
                <a:schemeClr val="bg1"/>
              </a:solidFill>
            </a:rPr>
            <a:t>The Reference Implementation</a:t>
          </a:r>
          <a:r>
            <a:rPr lang="en-US" dirty="0">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45178"/>
          <a:ext cx="4799841" cy="4032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chemeClr val="bg1"/>
              </a:solidFill>
            </a:rPr>
            <a:t>The Architecture</a:t>
          </a:r>
          <a:r>
            <a:rPr lang="en-US" sz="1400" kern="1200" dirty="0">
              <a:solidFill>
                <a:schemeClr val="bg1"/>
              </a:solidFill>
            </a:rPr>
            <a:t>:</a:t>
          </a:r>
        </a:p>
      </dsp:txBody>
      <dsp:txXfrm>
        <a:off x="50" y="45178"/>
        <a:ext cx="4799841" cy="403200"/>
      </dsp:txXfrm>
    </dsp:sp>
    <dsp:sp modelId="{CF087F75-864E-4FC8-A613-12614343C5E3}">
      <dsp:nvSpPr>
        <dsp:cNvPr id="0" name=""/>
        <dsp:cNvSpPr/>
      </dsp:nvSpPr>
      <dsp:spPr>
        <a:xfrm>
          <a:off x="50" y="448378"/>
          <a:ext cx="4799841" cy="2152079"/>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dirty="0"/>
            <a:t>Design principles</a:t>
          </a:r>
          <a:r>
            <a:rPr lang="en-US" sz="1400" kern="1200" dirty="0"/>
            <a:t>: Principles to help/guide you customize the design.</a:t>
          </a:r>
        </a:p>
        <a:p>
          <a:pPr marL="114300" lvl="1" indent="-114300" algn="l" defTabSz="622300">
            <a:lnSpc>
              <a:spcPct val="100000"/>
            </a:lnSpc>
            <a:spcBef>
              <a:spcPct val="0"/>
            </a:spcBef>
            <a:spcAft>
              <a:spcPct val="15000"/>
            </a:spcAft>
            <a:buChar char="•"/>
          </a:pPr>
          <a:r>
            <a:rPr lang="en-US" sz="1400" b="1" kern="1200" dirty="0"/>
            <a:t>Design guidelines</a:t>
          </a:r>
          <a:r>
            <a:rPr lang="en-US" sz="1400" kern="1200" dirty="0"/>
            <a:t>: Guidelines (decisions and recommendations) for the 8 components of the enterprise-scale architecture</a:t>
          </a:r>
        </a:p>
        <a:p>
          <a:pPr marL="114300" lvl="1" indent="-114300" algn="l" defTabSz="622300">
            <a:lnSpc>
              <a:spcPct val="100000"/>
            </a:lnSpc>
            <a:spcBef>
              <a:spcPct val="0"/>
            </a:spcBef>
            <a:spcAft>
              <a:spcPct val="15000"/>
            </a:spcAft>
            <a:buChar char="•"/>
          </a:pPr>
          <a:r>
            <a:rPr lang="en-US" sz="1400" b="1" kern="1200" dirty="0"/>
            <a:t>Implementation guide</a:t>
          </a:r>
          <a:r>
            <a:rPr lang="en-US" sz="1400" kern="1200" dirty="0"/>
            <a:t>: The way you create those things using the reference implementations in GitHub and deployment pipelines</a:t>
          </a:r>
        </a:p>
      </dsp:txBody>
      <dsp:txXfrm>
        <a:off x="50" y="448378"/>
        <a:ext cx="4799841" cy="2152079"/>
      </dsp:txXfrm>
    </dsp:sp>
    <dsp:sp modelId="{94DAAAF8-BA6E-482E-992B-0773D21079D5}">
      <dsp:nvSpPr>
        <dsp:cNvPr id="0" name=""/>
        <dsp:cNvSpPr/>
      </dsp:nvSpPr>
      <dsp:spPr>
        <a:xfrm>
          <a:off x="5471869" y="45178"/>
          <a:ext cx="4799841" cy="4032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chemeClr val="bg1"/>
              </a:solidFill>
            </a:rPr>
            <a:t>The Reference Implementation</a:t>
          </a:r>
          <a:r>
            <a:rPr lang="en-US" sz="1400" kern="1200" dirty="0">
              <a:solidFill>
                <a:schemeClr val="bg1"/>
              </a:solidFill>
            </a:rPr>
            <a:t>: </a:t>
          </a:r>
        </a:p>
      </dsp:txBody>
      <dsp:txXfrm>
        <a:off x="5471869" y="45178"/>
        <a:ext cx="4799841" cy="403200"/>
      </dsp:txXfrm>
    </dsp:sp>
    <dsp:sp modelId="{D228D250-7AEF-4648-95C6-D9AB68381703}">
      <dsp:nvSpPr>
        <dsp:cNvPr id="0" name=""/>
        <dsp:cNvSpPr/>
      </dsp:nvSpPr>
      <dsp:spPr>
        <a:xfrm>
          <a:off x="5471869" y="448378"/>
          <a:ext cx="4799841" cy="2152079"/>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dirty="0"/>
            <a:t>Foundation: </a:t>
          </a:r>
          <a:r>
            <a:rPr lang="en-US" sz="1400" kern="1200" dirty="0"/>
            <a:t>A reference implementation of shared services containing network, security, identity, governance services required to construct and operationalize an enterprise-scale landing zone</a:t>
          </a:r>
        </a:p>
        <a:p>
          <a:pPr marL="114300" lvl="1" indent="-114300" algn="l" defTabSz="622300">
            <a:lnSpc>
              <a:spcPct val="100000"/>
            </a:lnSpc>
            <a:spcBef>
              <a:spcPct val="0"/>
            </a:spcBef>
            <a:spcAft>
              <a:spcPct val="15000"/>
            </a:spcAft>
            <a:buChar char="•"/>
          </a:pPr>
          <a:r>
            <a:rPr lang="en-US" sz="1400" b="1" kern="1200" dirty="0"/>
            <a:t>Landing zone(s): </a:t>
          </a:r>
          <a:r>
            <a:rPr lang="en-US" sz="1400" kern="1200" dirty="0"/>
            <a:t>A reference implementation of a workload environment conforming to the enterprise-scale architecture (opinionated way to implement, code)</a:t>
          </a:r>
        </a:p>
      </dsp:txBody>
      <dsp:txXfrm>
        <a:off x="5471869" y="448378"/>
        <a:ext cx="4799841" cy="21520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9/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7/2022 11:4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684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b="1" dirty="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7</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7</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2</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8</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2</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5</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6</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60</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63</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11: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99.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08.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2.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9/7/20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9/7/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9/7/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9/7/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9/7/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7/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9/7/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9/7/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1.emf"/><Relationship Id="rId4" Type="http://schemas.openxmlformats.org/officeDocument/2006/relationships/image" Target="../media/image113.svg"/></Relationships>
</file>

<file path=ppt/slides/_rels/slide1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11.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3.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2.svg"/><Relationship Id="rId4" Type="http://schemas.openxmlformats.org/officeDocument/2006/relationships/image" Target="../media/image121.png"/></Relationships>
</file>

<file path=ppt/slides/_rels/slide2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43.png"/><Relationship Id="rId4" Type="http://schemas.openxmlformats.org/officeDocument/2006/relationships/image" Target="../media/image142.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8.xml"/></Relationships>
</file>

<file path=ppt/slides/_rels/slide2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7.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45.sv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7.svg"/><Relationship Id="rId4" Type="http://schemas.openxmlformats.org/officeDocument/2006/relationships/image" Target="../media/image14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56.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8.xml"/></Relationships>
</file>

<file path=ppt/slides/_rels/slide3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51.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5.xml"/><Relationship Id="rId1" Type="http://schemas.openxmlformats.org/officeDocument/2006/relationships/slideLayout" Target="../slideLayouts/slideLayout328.xml"/></Relationships>
</file>

<file path=ppt/slides/_rels/slide3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6.xml"/><Relationship Id="rId1" Type="http://schemas.openxmlformats.org/officeDocument/2006/relationships/slideLayout" Target="../slideLayouts/slideLayout328.xml"/><Relationship Id="rId4" Type="http://schemas.openxmlformats.org/officeDocument/2006/relationships/hyperlink" Target="https://youtu.be/Zx_gHevekm0?t=1954"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7.xml"/><Relationship Id="rId1" Type="http://schemas.openxmlformats.org/officeDocument/2006/relationships/slideLayout" Target="../slideLayouts/slideLayout41.xml"/><Relationship Id="rId6" Type="http://schemas.openxmlformats.org/officeDocument/2006/relationships/image" Target="../media/image130.png"/><Relationship Id="rId5" Type="http://schemas.openxmlformats.org/officeDocument/2006/relationships/image" Target="../media/image155.svg"/><Relationship Id="rId4" Type="http://schemas.openxmlformats.org/officeDocument/2006/relationships/image" Target="../media/image154.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56.xml"/><Relationship Id="rId1" Type="http://schemas.openxmlformats.org/officeDocument/2006/relationships/tags" Target="../tags/tag13.xml"/></Relationships>
</file>

<file path=ppt/slides/_rels/slide3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58.png"/><Relationship Id="rId4" Type="http://schemas.openxmlformats.org/officeDocument/2006/relationships/image" Target="../media/image157.svg"/></Relationships>
</file>

<file path=ppt/slides/_rels/slide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6.png"/><Relationship Id="rId4" Type="http://schemas.openxmlformats.org/officeDocument/2006/relationships/image" Target="../media/image115.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4.xml"/><Relationship Id="rId1" Type="http://schemas.openxmlformats.org/officeDocument/2006/relationships/themeOverride" Target="../theme/themeOverride1.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5" Type="http://schemas.openxmlformats.org/officeDocument/2006/relationships/image" Target="../media/image159.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61.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0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18.xml"/><Relationship Id="rId1" Type="http://schemas.openxmlformats.org/officeDocument/2006/relationships/tags" Target="../tags/tag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0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8.xml"/><Relationship Id="rId1" Type="http://schemas.openxmlformats.org/officeDocument/2006/relationships/slideLayout" Target="../slideLayouts/slideLayout41.xml"/><Relationship Id="rId5" Type="http://schemas.openxmlformats.org/officeDocument/2006/relationships/image" Target="../media/image163.png"/><Relationship Id="rId4" Type="http://schemas.openxmlformats.org/officeDocument/2006/relationships/image" Target="../media/image162.sv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2.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62.sv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1.xml"/><Relationship Id="rId1" Type="http://schemas.openxmlformats.org/officeDocument/2006/relationships/themeOverride" Target="../theme/themeOverride7.xml"/><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67.svg"/><Relationship Id="rId2" Type="http://schemas.openxmlformats.org/officeDocument/2006/relationships/slideLayout" Target="../slideLayouts/slideLayout54.xml"/><Relationship Id="rId1" Type="http://schemas.openxmlformats.org/officeDocument/2006/relationships/tags" Target="../tags/tag22.xml"/><Relationship Id="rId6" Type="http://schemas.openxmlformats.org/officeDocument/2006/relationships/image" Target="../media/image166.png"/><Relationship Id="rId5" Type="http://schemas.openxmlformats.org/officeDocument/2006/relationships/image" Target="../media/image165.svg"/><Relationship Id="rId4" Type="http://schemas.openxmlformats.org/officeDocument/2006/relationships/image" Target="../media/image164.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67.svg"/><Relationship Id="rId2" Type="http://schemas.openxmlformats.org/officeDocument/2006/relationships/slideLayout" Target="../slideLayouts/slideLayout54.xml"/><Relationship Id="rId1" Type="http://schemas.openxmlformats.org/officeDocument/2006/relationships/tags" Target="../tags/tag23.xml"/><Relationship Id="rId6" Type="http://schemas.openxmlformats.org/officeDocument/2006/relationships/image" Target="../media/image166.png"/><Relationship Id="rId5" Type="http://schemas.openxmlformats.org/officeDocument/2006/relationships/image" Target="../media/image165.svg"/><Relationship Id="rId4" Type="http://schemas.openxmlformats.org/officeDocument/2006/relationships/image" Target="../media/image164.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58.xml"/><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6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9.xml"/><Relationship Id="rId1" Type="http://schemas.openxmlformats.org/officeDocument/2006/relationships/slideLayout" Target="../slideLayouts/slideLayout10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3.xml"/></Relationships>
</file>

<file path=ppt/slides/_rels/slide63.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62.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24.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71.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70.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0.png"/></Relationships>
</file>

<file path=ppt/slides/_rels/slide64.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2.svg"/><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dirty="0">
                <a:solidFill>
                  <a:schemeClr val="accent3"/>
                </a:solidFill>
              </a:rPr>
              <a:t>The Key</a:t>
            </a:r>
            <a:r>
              <a:rPr lang="en-US" dirty="0">
                <a:solidFill>
                  <a:schemeClr val="accent3"/>
                </a:solidFill>
              </a:rPr>
              <a:t> </a:t>
            </a:r>
            <a:r>
              <a:rPr lang="en-US" sz="3600" dirty="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dirty="0">
                <a:solidFill>
                  <a:schemeClr val="bg1"/>
                </a:solidFill>
              </a:rPr>
              <a:t>Architecture Complexity: </a:t>
            </a:r>
            <a:r>
              <a:rPr lang="en-GB" sz="1600" dirty="0">
                <a:solidFill>
                  <a:schemeClr val="bg1"/>
                </a:solidFill>
              </a:rPr>
              <a:t>Most customers lack the required level of knowledge &amp; experience on Azure. The mismatch between on-premises infrastructure and cloud-design considerations creates friction when trying to define architectures and standards for their migration to the cloud.</a:t>
            </a:r>
          </a:p>
          <a:p>
            <a:pPr lvl="0"/>
            <a:r>
              <a:rPr lang="en-GB" sz="1600" dirty="0">
                <a:solidFill>
                  <a:schemeClr val="bg1"/>
                </a:solidFill>
              </a:rPr>
              <a:t>They are struggling with the translation of their requirements to Azure concepts, capabilities, constructs and security model. </a:t>
            </a:r>
            <a:endParaRPr lang="en-US" sz="1600" dirty="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dirty="0">
                <a:solidFill>
                  <a:schemeClr val="bg1"/>
                </a:solidFill>
              </a:rPr>
              <a:t>Operating Compatibility:</a:t>
            </a:r>
            <a:r>
              <a:rPr lang="en-GB" dirty="0">
                <a:solidFill>
                  <a:schemeClr val="bg1"/>
                </a:solidFill>
              </a:rPr>
              <a:t> </a:t>
            </a:r>
            <a:r>
              <a:rPr lang="en-GB" sz="1600" dirty="0">
                <a:solidFill>
                  <a:schemeClr val="bg1"/>
                </a:solidFill>
              </a:rPr>
              <a:t>Existing approaches and functions for the traditional delivery and management of IT services are not compatible with Azure and cloud operating models.</a:t>
            </a:r>
          </a:p>
          <a:p>
            <a:pPr lvl="0"/>
            <a:r>
              <a:rPr lang="en-GB" sz="1600" dirty="0">
                <a:solidFill>
                  <a:schemeClr val="bg1"/>
                </a:solidFill>
              </a:rPr>
              <a:t>When combined with a lack of skills and experience, customers are struggling to define (and therefore transform) their operating model to manage and support cloud infrastructure.</a:t>
            </a:r>
            <a:endParaRPr lang="en-US" sz="1600" dirty="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dirty="0">
                <a:solidFill>
                  <a:schemeClr val="bg1"/>
                </a:solidFill>
              </a:rPr>
              <a:t>Lack of Trust and Desire for Control:</a:t>
            </a:r>
            <a:r>
              <a:rPr lang="en-GB" dirty="0">
                <a:solidFill>
                  <a:schemeClr val="bg1"/>
                </a:solidFill>
              </a:rPr>
              <a:t> </a:t>
            </a:r>
            <a:r>
              <a:rPr lang="en-GB" sz="1600" dirty="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a:t>
            </a:r>
          </a:p>
          <a:p>
            <a:pPr lvl="0"/>
            <a:r>
              <a:rPr lang="en-GB" sz="1600" dirty="0">
                <a:solidFill>
                  <a:schemeClr val="bg1"/>
                </a:solidFill>
              </a:rPr>
              <a:t>This often involves building ‘walls’ and complicated processes which ultimately get in the way of business lines adopting Azure.</a:t>
            </a:r>
            <a:endParaRPr lang="en-US" sz="1600" dirty="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86041975"/>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818049" y="2228671"/>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dirty="0">
                <a:solidFill>
                  <a:schemeClr val="tx1"/>
                </a:solidFill>
                <a:cs typeface="Segoe UI Semilight"/>
              </a:rPr>
              <a:t>Authoritative </a:t>
            </a:r>
            <a:br>
              <a:rPr lang="en-GB" sz="1800" dirty="0">
                <a:cs typeface="Segoe UI Semilight"/>
              </a:rPr>
            </a:br>
            <a:r>
              <a:rPr lang="en-GB" sz="1800" dirty="0">
                <a:solidFill>
                  <a:schemeClr val="tx1"/>
                </a:solidFill>
                <a:cs typeface="Segoe UI Semilight"/>
              </a:rPr>
              <a:t>Provides a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433906" y="2228671"/>
            <a:ext cx="3182117"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the success of large-scale migration projects at-scale, but not only.</a:t>
            </a:r>
          </a:p>
        </p:txBody>
      </p:sp>
      <p:sp>
        <p:nvSpPr>
          <p:cNvPr id="14" name="Rectangle 13">
            <a:extLst>
              <a:ext uri="{FF2B5EF4-FFF2-40B4-BE49-F238E27FC236}">
                <a16:creationId xmlns:a16="http://schemas.microsoft.com/office/drawing/2014/main" id="{F3A35DE8-2B6C-4AE4-9BDE-F5900F4D8233}"/>
              </a:ext>
            </a:extLst>
          </p:cNvPr>
          <p:cNvSpPr/>
          <p:nvPr/>
        </p:nvSpPr>
        <p:spPr>
          <a:xfrm>
            <a:off x="8407018" y="2262276"/>
            <a:ext cx="2824862" cy="1200329"/>
          </a:xfrm>
          <a:prstGeom prst="rect">
            <a:avLst/>
          </a:prstGeom>
        </p:spPr>
        <p:txBody>
          <a:bodyPr wrap="square" anchor="ctr">
            <a:spAutoFit/>
          </a:bodyPr>
          <a:lstStyle/>
          <a:p>
            <a:pPr algn="ctr"/>
            <a:r>
              <a:rPr lang="en-GB" b="1" dirty="0">
                <a:cs typeface="Segoe UI Semilight"/>
              </a:rPr>
              <a:t>Prescriptive</a:t>
            </a:r>
            <a:r>
              <a:rPr lang="en-GB" dirty="0">
                <a:cs typeface="Segoe UI Semilight"/>
              </a:rPr>
              <a:t> </a:t>
            </a:r>
            <a:br>
              <a:rPr lang="en-GB" dirty="0">
                <a:cs typeface="Segoe UI Semilight"/>
              </a:rPr>
            </a:br>
            <a:r>
              <a:rPr lang="en-GB" dirty="0">
                <a:cs typeface="Segoe UI Semilight"/>
              </a:rPr>
              <a:t>Apply it on a clear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580"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dirty="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al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4058017" cy="3271838"/>
          </a:xfrm>
          <a:prstGeom prst="rect">
            <a:avLst/>
          </a:prstGeom>
        </p:spPr>
        <p:txBody>
          <a:bodyPr wrap="square" anchor="t">
            <a:normAutofit fontScale="90000"/>
          </a:bodyPr>
          <a:lstStyle/>
          <a:p>
            <a:r>
              <a:rPr lang="en-GB" sz="4000" b="1" dirty="0"/>
              <a:t>But should I start with ESLZ?</a:t>
            </a:r>
            <a:br>
              <a:rPr lang="en-GB" sz="2200" dirty="0">
                <a:latin typeface="+mn-lt"/>
              </a:rPr>
            </a:br>
            <a:r>
              <a:rPr lang="en-US" sz="2200" dirty="0">
                <a:latin typeface="+mn-lt"/>
              </a:rPr>
              <a:t>The enterprise-scale architecture is modular by design and allows you to start with a foundational landing zone control plane that supports your application portfolios, whether the applications are being migrated or are newly developed and deployed to Azure.</a:t>
            </a:r>
            <a:br>
              <a:rPr lang="en-US" sz="2200" dirty="0">
                <a:latin typeface="+mn-lt"/>
              </a:rPr>
            </a:br>
            <a:r>
              <a:rPr lang="en-US" sz="2200" dirty="0">
                <a:latin typeface="+mn-lt"/>
              </a:rPr>
              <a:t>The architecture can scale alongside your business requirements, regardless of scale point.</a:t>
            </a:r>
            <a:endParaRPr lang="en-GB" sz="2200" dirty="0">
              <a:latin typeface="+mn-lt"/>
            </a:endParaRP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158549"/>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Principles</a:t>
            </a:r>
            <a:endParaRPr lang="en-US" sz="4000" dirty="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dirty="0">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This design area references Active Directory or AD, but it doesn't focus on the identity or management aspects of Azure AD, only the tenant in which your identities will ultimately be hosted.</a:t>
            </a:r>
          </a:p>
          <a:p>
            <a:r>
              <a:rPr lang="en-US" sz="1800" dirty="0"/>
              <a:t>An Azure subscription can only trust one Azure AD tenant at a time.</a:t>
            </a:r>
          </a:p>
          <a:p>
            <a:r>
              <a:rPr lang="en-US" sz="1800" dirty="0"/>
              <a:t>If there’s no identity infrastructure, start by implementing an Azure AD only identity deployment. Don’t forget to define your Azure SSO strategy!</a:t>
            </a:r>
          </a:p>
          <a:p>
            <a:r>
              <a:rPr lang="en-US" sz="1800" dirty="0"/>
              <a:t>Add at least one custom domain and define a single-sign on strategy using AAD Connect.</a:t>
            </a:r>
          </a:p>
          <a:p>
            <a:r>
              <a:rPr lang="en-US" sz="1800" dirty="0"/>
              <a:t>Enforce MFA and CAP for all privileged accounts. No MFA and no CAP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 But Azure Lighthouse only supports delegation at the subscription and resource group scopes.</a:t>
            </a:r>
          </a:p>
          <a:p>
            <a:r>
              <a:rPr lang="en-US" sz="1800" dirty="0"/>
              <a:t>Avoid creating multiple Azure AD tenants. </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6" end="6"/>
                                            </p:txEl>
                                          </p:spTgt>
                                        </p:tgtEl>
                                        <p:attrNameLst>
                                          <p:attrName>style.visibility</p:attrName>
                                        </p:attrNameLst>
                                      </p:cBhvr>
                                      <p:to>
                                        <p:strVal val="visible"/>
                                      </p:to>
                                    </p:set>
                                    <p:animEffect transition="in" filter="fade">
                                      <p:cBhvr>
                                        <p:cTn id="22" dur="500"/>
                                        <p:tgtEl>
                                          <p:spTgt spid="1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animEffect transition="in" filter="fade">
                                      <p:cBhvr>
                                        <p:cTn id="27" dur="500"/>
                                        <p:tgtEl>
                                          <p:spTgt spid="1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fade">
                                      <p:cBhvr>
                                        <p:cTn id="32" dur="500"/>
                                        <p:tgtEl>
                                          <p:spTgt spid="1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1" end="1"/>
                                            </p:txEl>
                                          </p:spTgt>
                                        </p:tgtEl>
                                        <p:attrNameLst>
                                          <p:attrName>style.visibility</p:attrName>
                                        </p:attrNameLst>
                                      </p:cBhvr>
                                      <p:to>
                                        <p:strVal val="visible"/>
                                      </p:to>
                                    </p:set>
                                    <p:animEffect transition="in" filter="fade">
                                      <p:cBhvr>
                                        <p:cTn id="37" dur="500"/>
                                        <p:tgtEl>
                                          <p:spTgt spid="1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2" end="2"/>
                                            </p:txEl>
                                          </p:spTgt>
                                        </p:tgtEl>
                                        <p:attrNameLst>
                                          <p:attrName>style.visibility</p:attrName>
                                        </p:attrNameLst>
                                      </p:cBhvr>
                                      <p:to>
                                        <p:strVal val="visible"/>
                                      </p:to>
                                    </p:set>
                                    <p:animEffect transition="in" filter="fade">
                                      <p:cBhvr>
                                        <p:cTn id="4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8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t>
            </a: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mp; start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and east / west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490186"/>
          </a:xfrm>
        </p:spPr>
        <p:txBody>
          <a:bodyPr/>
          <a:lstStyle/>
          <a:p>
            <a:r>
              <a:rPr lang="en-US" sz="1800" dirty="0"/>
              <a:t>Avoid replicating the organization’s hierarchy chart. What if the customer goes thru a re-org?</a:t>
            </a:r>
          </a:p>
          <a:p>
            <a:r>
              <a:rPr lang="en-US" sz="1800" dirty="0"/>
              <a:t>Avoid organizing for billing purposes. Use Tags (accounting) + Azure Cost Management to query &amp; aggregate costs. Make it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Use reserved instances to prioritize reserved capacity in required regions.</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and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Limit the number of Azure Policy assignments made at the root management group scope to avoid managing through exclusions at inherited scop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6249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nce initial observability is achieved, then you build upon that initial level of visibility to develop actionable alerts,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zure LZ Accelerator includes diagnostic settings for activity logs, VMs, and PaaS resources sent to Log Analytic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BAC, data sovereignty requirements, and data retention policies mandate separate workspa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 for both Windows and Linux V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926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f it’s not measurable, it’s not actionable. Define a RTO and RPO requirements for each workload.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BCDR as a service for platform-as-a-service (PaaS) servi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zure Site Recovery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zure landing zone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Finding the structure of tags that fits your cost and recharging model might help track your cloud spe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your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your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zure Active Directory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top-level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nage policy assignments at the highest appropriate level with exclusions at bottom levels, if necessar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Limit the number of Azure Policy assignments made at the </a:t>
            </a:r>
            <a:r>
              <a:rPr lang="en-US" sz="2000" u="sng" spc="-50" dirty="0">
                <a:ln w="3175">
                  <a:noFill/>
                </a:ln>
                <a:solidFill>
                  <a:srgbClr val="FFFFFF"/>
                </a:solidFill>
                <a:latin typeface="Segoe UI Semibold"/>
                <a:cs typeface="Segoe UI" pitchFamily="34" charset="0"/>
              </a:rPr>
              <a:t>root</a:t>
            </a:r>
            <a:r>
              <a:rPr lang="en-US" sz="2000" spc="-50" dirty="0">
                <a:ln w="3175">
                  <a:noFill/>
                </a:ln>
                <a:solidFill>
                  <a:srgbClr val="FFFFFF"/>
                </a:solidFill>
                <a:latin typeface="Segoe UI Semibold"/>
                <a:cs typeface="Segoe UI" pitchFamily="34" charset="0"/>
              </a:rPr>
              <a:t> management group scope to avoid managing through exclusions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or project name).</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AD </a:t>
            </a:r>
            <a:r>
              <a:rPr lang="en-US" dirty="0">
                <a:solidFill>
                  <a:srgbClr val="24292E"/>
                </a:solidFill>
                <a:latin typeface="Segoe UI" panose="020B0502040204020203" pitchFamily="34" charset="0"/>
                <a:cs typeface="Segoe UI" panose="020B0502040204020203" pitchFamily="34" charset="0"/>
              </a:rPr>
              <a:t>Tenants</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Enterprise-scale demystified</a:t>
            </a:r>
            <a:endParaRPr lang="en-US" sz="4000" dirty="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3E12E507-96F2-43FE-9633-836CCE61E55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18</TotalTime>
  <Words>5448</Words>
  <Application>Microsoft Office PowerPoint</Application>
  <PresentationFormat>Widescreen</PresentationFormat>
  <Paragraphs>518</Paragraphs>
  <Slides>65</Slides>
  <Notes>63</Notes>
  <HiddenSlides>0</HiddenSlides>
  <MMClips>0</MMClips>
  <ScaleCrop>false</ScaleCrop>
  <HeadingPairs>
    <vt:vector size="8" baseType="variant">
      <vt:variant>
        <vt:lpstr>Fonts Used</vt:lpstr>
      </vt:variant>
      <vt:variant>
        <vt:i4>12</vt:i4>
      </vt:variant>
      <vt:variant>
        <vt:lpstr>Theme</vt:lpstr>
      </vt:variant>
      <vt:variant>
        <vt:i4>14</vt:i4>
      </vt:variant>
      <vt:variant>
        <vt:lpstr>Embedded OLE Servers</vt:lpstr>
      </vt:variant>
      <vt:variant>
        <vt:i4>1</vt:i4>
      </vt:variant>
      <vt:variant>
        <vt:lpstr>Slide Titles</vt:lpstr>
      </vt:variant>
      <vt:variant>
        <vt:i4>65</vt:i4>
      </vt:variant>
    </vt:vector>
  </HeadingPairs>
  <TitlesOfParts>
    <vt:vector size="92" baseType="lpstr">
      <vt:lpstr>Arial</vt:lpstr>
      <vt:lpstr>Calibri</vt:lpstr>
      <vt:lpstr>Calibri Light</vt:lpstr>
      <vt:lpstr>Consolas</vt:lpstr>
      <vt:lpstr>docons</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What The CAF Module 04: ALZ Accelerator Azure Landing Zone Design Principles, Considerations, and Recommendations</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Enterprise-scale demystified</vt:lpstr>
      <vt:lpstr>The Key Challenges</vt:lpstr>
      <vt:lpstr>Metropolis</vt:lpstr>
      <vt:lpstr>Enterprise-scale?</vt:lpstr>
      <vt:lpstr>PowerPoint Presentation</vt:lpstr>
      <vt:lpstr>Enterprise-scale landing zone(s)  The principal purpose of the “Landing Zone” is therefore to ensure that when an application or workload lands on Azure, the required “plumbing” is already in place, providing greater agility and compliance with enterprise security and governance requirements.</vt:lpstr>
      <vt:lpstr>But should I start with ESLZ? The enterprise-scale architecture is modular by design and allows you to start with a foundational landing zone control plane that supports your application portfolios, whether the applications are being migrated or are newly developed and deployed to Azure. The architecture can scale alongside your business requirements, regardless of scale point.</vt:lpstr>
      <vt:lpstr>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9-07T10: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